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Ex2.xml" ContentType="application/vnd.ms-office.chartex+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3"/>
  </p:notesMasterIdLst>
  <p:handoutMasterIdLst>
    <p:handoutMasterId r:id="rId14"/>
  </p:handoutMasterIdLst>
  <p:sldIdLst>
    <p:sldId id="256" r:id="rId2"/>
    <p:sldId id="1092" r:id="rId3"/>
    <p:sldId id="1093" r:id="rId4"/>
    <p:sldId id="267" r:id="rId5"/>
    <p:sldId id="1096" r:id="rId6"/>
    <p:sldId id="270" r:id="rId7"/>
    <p:sldId id="1084" r:id="rId8"/>
    <p:sldId id="1097" r:id="rId9"/>
    <p:sldId id="1099" r:id="rId10"/>
    <p:sldId id="265" r:id="rId11"/>
    <p:sldId id="1081" r:id="rId12"/>
  </p:sldIdLst>
  <p:sldSz cx="12192000" cy="6858000"/>
  <p:notesSz cx="6858000" cy="9144000"/>
  <p:custDataLst>
    <p:tags r:id="rId15"/>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Evje og Hornn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delete val="1"/>
              <c:extLst>
                <c:ext xmlns:c15="http://schemas.microsoft.com/office/drawing/2012/chart" uri="{CE6537A1-D6FC-4f65-9D91-7224C49458BB}"/>
                <c:ext xmlns:c16="http://schemas.microsoft.com/office/drawing/2014/chart" uri="{C3380CC4-5D6E-409C-BE32-E72D297353CC}">
                  <c16:uniqueId val="{00000007-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dLbl>
              <c:idx val="7"/>
              <c:delete val="1"/>
              <c:extLst>
                <c:ext xmlns:c15="http://schemas.microsoft.com/office/drawing/2012/chart" uri="{CE6537A1-D6FC-4f65-9D91-7224C49458BB}"/>
                <c:ext xmlns:c16="http://schemas.microsoft.com/office/drawing/2014/chart" uri="{C3380CC4-5D6E-409C-BE32-E72D297353CC}">
                  <c16:uniqueId val="{0000000F-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2021.7200550553912</c:v>
                </c:pt>
                <c:pt idx="1">
                  <c:v>2024.0971848828772</c:v>
                </c:pt>
                <c:pt idx="2">
                  <c:v>0</c:v>
                </c:pt>
                <c:pt idx="3">
                  <c:v>0</c:v>
                </c:pt>
                <c:pt idx="4">
                  <c:v>6686.6960724977689</c:v>
                </c:pt>
                <c:pt idx="5">
                  <c:v>0</c:v>
                </c:pt>
                <c:pt idx="6">
                  <c:v>624.89754284624416</c:v>
                </c:pt>
                <c:pt idx="7">
                  <c:v>0</c:v>
                </c:pt>
                <c:pt idx="8">
                  <c:v>7106.332845495368</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Evje og Hornnes</c:v>
                </c:pt>
              </c:strCache>
            </c:strRef>
          </c:tx>
          <c:spPr>
            <a:ln w="12700">
              <a:solidFill>
                <a:schemeClr val="bg1"/>
              </a:solidFill>
            </a:ln>
          </c:spPr>
          <c:dLbls>
            <c:dLbl>
              <c:idx val="0"/>
              <c:spPr>
                <a:solidFill>
                  <a:srgbClr val="FFFFFF"/>
                </a:solidFill>
                <a:ln>
                  <a:solidFill>
                    <a:srgbClr val="323232">
                      <a:lumMod val="65000"/>
                      <a:lumOff val="35000"/>
                    </a:srgbClr>
                  </a:solidFill>
                </a:ln>
                <a:effectLst/>
              </c:spPr>
              <c:txPr>
                <a:bodyPr wrap="square" lIns="38100" tIns="19050" rIns="38100" bIns="19050" anchor="ctr">
                  <a:spAutoFit/>
                </a:bodyPr>
                <a:lstStyle/>
                <a:p>
                  <a:pPr>
                    <a:defRPr b="1"/>
                  </a:pPr>
                  <a:endParaRPr lang="nb-NO"/>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2-3074-4D3D-8665-91F0D2B5A024}"/>
                </c:ext>
              </c:extLst>
            </c:dLbl>
            <c:dLbl>
              <c:idx val="2"/>
              <c:delete val="1"/>
              <c:extLst>
                <c:ext xmlns:c15="http://schemas.microsoft.com/office/drawing/2012/chart" uri="{CE6537A1-D6FC-4f65-9D91-7224C49458BB}"/>
                <c:ext xmlns:c16="http://schemas.microsoft.com/office/drawing/2014/chart" uri="{C3380CC4-5D6E-409C-BE32-E72D297353CC}">
                  <c16:uniqueId val="{00000001-94B7-4EF7-8D4D-A8C91D8B90C8}"/>
                </c:ext>
              </c:extLst>
            </c:dLbl>
            <c:dLbl>
              <c:idx val="3"/>
              <c:delete val="1"/>
              <c:extLst>
                <c:ext xmlns:c15="http://schemas.microsoft.com/office/drawing/2012/chart" uri="{CE6537A1-D6FC-4f65-9D91-7224C49458BB}"/>
                <c:ext xmlns:c16="http://schemas.microsoft.com/office/drawing/2014/chart" uri="{C3380CC4-5D6E-409C-BE32-E72D297353CC}">
                  <c16:uniqueId val="{00000000-94B7-4EF7-8D4D-A8C91D8B90C8}"/>
                </c:ext>
              </c:extLst>
            </c:dLbl>
            <c:dLbl>
              <c:idx val="4"/>
              <c:layout>
                <c:manualLayout>
                  <c:x val="-0.12677954643938866"/>
                  <c:y val="2.960739994256545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9128.0529005507597</c:v>
                </c:pt>
                <c:pt idx="1">
                  <c:v>2024.0971848828772</c:v>
                </c:pt>
                <c:pt idx="2">
                  <c:v>0</c:v>
                </c:pt>
                <c:pt idx="3">
                  <c:v>0</c:v>
                </c:pt>
                <c:pt idx="4">
                  <c:v>6686.6960724977689</c:v>
                </c:pt>
                <c:pt idx="5">
                  <c:v>624.89754284624416</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1"/>
              <c:layout>
                <c:manualLayout>
                  <c:x val="-9.1203759346061342E-2"/>
                  <c:y val="-0.103770552899966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35585616584017143</c:v>
                </c:pt>
                <c:pt idx="1">
                  <c:v>8.1867527008424493E-2</c:v>
                </c:pt>
                <c:pt idx="2">
                  <c:v>0.56227630715140409</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7409705783771405E-2</c:v>
                </c:pt>
                <c:pt idx="1">
                  <c:v>0</c:v>
                </c:pt>
                <c:pt idx="2" formatCode="###0.000\ %_ ;_*\-###0.000\ %_ ;_*&quot;-&quot;">
                  <c:v>0</c:v>
                </c:pt>
                <c:pt idx="3">
                  <c:v>1</c:v>
                </c:pt>
                <c:pt idx="4">
                  <c:v>0.92519606044955116</c:v>
                </c:pt>
                <c:pt idx="5">
                  <c:v>0.56227630715140398</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113952138063664</c:v>
                </c:pt>
                <c:pt idx="1">
                  <c:v>0</c:v>
                </c:pt>
                <c:pt idx="2">
                  <c:v>0</c:v>
                </c:pt>
                <c:pt idx="3">
                  <c:v>0</c:v>
                </c:pt>
                <c:pt idx="4">
                  <c:v>6.8627843276940118E-2</c:v>
                </c:pt>
                <c:pt idx="5">
                  <c:v>8.1867527008424493E-2</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1450772835592</c:v>
                </c:pt>
                <c:pt idx="1">
                  <c:v>1</c:v>
                </c:pt>
                <c:pt idx="2">
                  <c:v>0</c:v>
                </c:pt>
                <c:pt idx="3">
                  <c:v>0</c:v>
                </c:pt>
                <c:pt idx="4">
                  <c:v>6.1760962735087008E-3</c:v>
                </c:pt>
                <c:pt idx="5">
                  <c:v>0.35585616584017149</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0</c:v>
                </c:pt>
                <c:pt idx="1">
                  <c:v>0</c:v>
                </c:pt>
                <c:pt idx="2">
                  <c:v>0</c:v>
                </c:pt>
                <c:pt idx="3">
                  <c:v>0</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253.110028800002</c:v>
                </c:pt>
                <c:pt idx="2">
                  <c:v>253.110028800002</c:v>
                </c:pt>
                <c:pt idx="3">
                  <c:v>253.110028800002</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2884.0224111650246</c:v>
                </c:pt>
                <c:pt idx="2">
                  <c:v>2884.0224111650246</c:v>
                </c:pt>
                <c:pt idx="3">
                  <c:v>2884.0224111650246</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2841.8391131005596</c:v>
                </c:pt>
                <c:pt idx="2">
                  <c:v>2841.8391131005596</c:v>
                </c:pt>
                <c:pt idx="3">
                  <c:v>2841.8391131005596</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1127.3612924297827</c:v>
                </c:pt>
                <c:pt idx="2">
                  <c:v>1127.3612924297827</c:v>
                </c:pt>
                <c:pt idx="3">
                  <c:v>1127.3612924297827</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2021.7200550553916</c:v>
                </c:pt>
                <c:pt idx="3" formatCode="#,##0">
                  <c:v>2021.7200550553916</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9128.0529005507615</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0</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0</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49437714520302345</cx:pt>
          <cx:pt idx="1">0.033844574154261307</cx:pt>
          <cx:pt idx="2">0.47177828064271549</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18463.743700777646</cx:pt>
          <cx:pt idx="1">-4011.3837035948072</cx:pt>
          <cx:pt idx="2">-2841.8391131005596</cx:pt>
          <cx:pt idx="3">-253.110028800002</cx:pt>
          <cx:pt idx="4">0</cx:pt>
          <cx:pt idx="5">0</cx:pt>
          <cx:pt idx="6">0</cx:pt>
          <cx:pt idx="7">0</cx:pt>
          <cx:pt idx="8">-2021.7200550553916</cx:pt>
          <cx:pt idx="9">9335.6908002268865</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1</a:t>
            </a:fld>
            <a:endParaRPr lang="nb-NO" dirty="0"/>
          </a:p>
        </p:txBody>
      </p:sp>
    </p:spTree>
    <p:extLst>
      <p:ext uri="{BB962C8B-B14F-4D97-AF65-F5344CB8AC3E}">
        <p14:creationId xmlns:p14="http://schemas.microsoft.com/office/powerpoint/2010/main" val="15045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0.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6.sv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slideLayout" Target="../slideLayouts/slideLayout16.xml"/><Relationship Id="rId21" Type="http://schemas.openxmlformats.org/officeDocument/2006/relationships/image" Target="../media/image34.svg"/><Relationship Id="rId7" Type="http://schemas.openxmlformats.org/officeDocument/2006/relationships/chart" Target="../charts/chart3.xml"/><Relationship Id="rId12" Type="http://schemas.openxmlformats.org/officeDocument/2006/relationships/image" Target="../media/image25.png"/><Relationship Id="rId17" Type="http://schemas.openxmlformats.org/officeDocument/2006/relationships/image" Target="../media/image30.svg"/><Relationship Id="rId25" Type="http://schemas.openxmlformats.org/officeDocument/2006/relationships/image" Target="../media/image38.svg"/><Relationship Id="rId2" Type="http://schemas.openxmlformats.org/officeDocument/2006/relationships/tags" Target="../tags/tag13.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svg"/><Relationship Id="rId1" Type="http://schemas.openxmlformats.org/officeDocument/2006/relationships/tags" Target="../tags/tag12.xml"/><Relationship Id="rId6" Type="http://schemas.openxmlformats.org/officeDocument/2006/relationships/image" Target="../media/image22.png"/><Relationship Id="rId11" Type="http://schemas.openxmlformats.org/officeDocument/2006/relationships/image" Target="../media/image24.svg"/><Relationship Id="rId24" Type="http://schemas.openxmlformats.org/officeDocument/2006/relationships/image" Target="../media/image37.png"/><Relationship Id="rId5" Type="http://schemas.microsoft.com/office/2014/relationships/chartEx" Target="../charts/chartEx1.xml"/><Relationship Id="rId15" Type="http://schemas.openxmlformats.org/officeDocument/2006/relationships/image" Target="../media/image28.svg"/><Relationship Id="rId23" Type="http://schemas.openxmlformats.org/officeDocument/2006/relationships/image" Target="../media/image36.sv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svg"/></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slideLayout" Target="../slideLayouts/slideLayout16.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tags" Target="../tags/tag15.xml"/><Relationship Id="rId16" Type="http://schemas.openxmlformats.org/officeDocument/2006/relationships/image" Target="../media/image52.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6.bin"/><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5.png"/><Relationship Id="rId14" Type="http://schemas.openxmlformats.org/officeDocument/2006/relationships/image" Target="../media/image50.svg"/></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6" name="Bilde 5">
            <a:extLst>
              <a:ext uri="{FF2B5EF4-FFF2-40B4-BE49-F238E27FC236}">
                <a16:creationId xmlns:a16="http://schemas.microsoft.com/office/drawing/2014/main" id="{C8574AE8-4E46-3F08-2DF9-6F225B11F47F}"/>
              </a:ext>
            </a:extLst>
          </p:cNvPr>
          <p:cNvPicPr/>
          <p:nvPr/>
        </p:nvPicPr>
        <p:blipFill>
          <a:blip r:embed="rId7"/>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7EA99976-80AD-AA2C-1499-E95A3A223801}"/>
              </a:ext>
            </a:extLst>
          </p:cNvPr>
          <p:cNvPicPr/>
          <p:nvPr/>
        </p:nvPicPr>
        <p:blipFill>
          <a:blip r:embed="rId8"/>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9E153F7B-CC15-0FDC-C786-1E549AF5916E}"/>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D50A0D3D-486D-750A-0513-95E6B240A9BD}"/>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C7E772CB-69BC-7E13-1A08-EFD428FD4A4F}"/>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3569EB30-124A-FF8F-B377-3516D2B2A983}"/>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7DFA4AF4-A1FF-CFA5-0B27-7CB80B4F6B5C}"/>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D6DD8DFC-4492-2037-FA4D-F763C640979A}"/>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4B0130E6-8D37-713A-1364-15A598EA1814}"/>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5C42A798-2F35-4A96-A882-8CCDDBCB61C3}"/>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34844727"/>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1284081966"/>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C126ADA9-BFE6-763D-7484-B8F08ABD34B4}"/>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3468350164"/>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1513924578"/>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1032191115"/>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1263977163"/>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2587663207"/>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32</TotalTime>
  <Words>594</Words>
  <Application>Microsoft Office PowerPoint</Application>
  <PresentationFormat>Widescreen</PresentationFormat>
  <Paragraphs>105</Paragraphs>
  <Slides>11</Slides>
  <Notes>9</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17" baseType="lpstr">
      <vt:lpstr>Arial</vt:lpstr>
      <vt:lpstr>Arial Black</vt:lpstr>
      <vt:lpstr>Calibri</vt:lpstr>
      <vt:lpstr>Wingdings</vt:lpstr>
      <vt:lpstr>Agder fylkeskommune PowerPointmal 16:9</vt:lpstr>
      <vt:lpstr>think-cell Slide</vt:lpstr>
      <vt:lpstr>Klimagassutslipp og energiforbruk </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4</cp:revision>
  <cp:lastPrinted>2018-11-21T18:12:12Z</cp:lastPrinted>
  <dcterms:created xsi:type="dcterms:W3CDTF">2019-10-28T08:04:15Z</dcterms:created>
  <dcterms:modified xsi:type="dcterms:W3CDTF">2023-12-18T13:28:49Z</dcterms:modified>
</cp:coreProperties>
</file>